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"/>
  </p:notesMasterIdLst>
  <p:sldIdLst>
    <p:sldId id="259" r:id="rId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107" d="100"/>
          <a:sy n="107" d="100"/>
        </p:scale>
        <p:origin x="-546" y="2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931ABA-140F-49C1-AEB4-426306F84054}" type="datetimeFigureOut">
              <a:rPr lang="ru-RU" smtClean="0"/>
              <a:t>13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A7788C-A16E-4890-A2EF-B770AC1BB9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4297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5356" y="4913437"/>
            <a:ext cx="5844153" cy="331208"/>
          </a:xfrm>
        </p:spPr>
        <p:txBody>
          <a:bodyPr/>
          <a:lstStyle/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 Представлены заполненные  анкеты (электронные письма, протоколы и т.д.)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 Анкета содержит минимум 5 универсальных вопросов из Методических рекомендаций по реализации ПСР-проектов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 В анкетировании №1 и №2 участвовали одни и те же сотрудники, не менее 10 сотрудников</a:t>
            </a:r>
          </a:p>
          <a:p>
            <a:pPr rtl="0" eaLnBrk="1" fontAlgn="auto" latinLnBrk="0" hangingPunct="1"/>
            <a:r>
              <a:rPr lang="ru-RU" sz="1600" b="0" i="0" u="none" strike="noStrike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 Анкетирование прошли заказчики процесса, указанные в карточке ПСР-проекта </a:t>
            </a:r>
          </a:p>
          <a:p>
            <a:r>
              <a:rPr lang="ru-RU" dirty="0" smtClean="0"/>
              <a:t>5</a:t>
            </a:r>
            <a:r>
              <a:rPr lang="ru-RU" baseline="0" dirty="0" smtClean="0"/>
              <a:t> По всем 10 представленным анкетам выведен средний балл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481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62368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796" y="668956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18" y="5030928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18" y="5304665"/>
            <a:ext cx="5036085" cy="220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8" y="291938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8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0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18" y="2119328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83068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60587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6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14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png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9345655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2723" y="1980946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3" y="4197986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0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5770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8" y="6578595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96" tIns="93296" rIns="93296" bIns="932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2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96" tIns="93296" rIns="93296" bIns="93296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4865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0225969"/>
              </p:ext>
            </p:ext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761640" y="1304702"/>
            <a:ext cx="0" cy="3599074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875011" y="1304702"/>
            <a:ext cx="0" cy="3599074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988382" y="1304702"/>
            <a:ext cx="0" cy="3599074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4724272" y="4910171"/>
            <a:ext cx="1295722" cy="1884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kern="0" dirty="0" smtClean="0">
                <a:solidFill>
                  <a:srgbClr val="000000"/>
                </a:solidFill>
              </a:rPr>
              <a:t>Комментарии:</a:t>
            </a:r>
            <a:endParaRPr lang="ru-RU" sz="1200" kern="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90616" y="6080683"/>
            <a:ext cx="2148889" cy="27698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Итого: средний </a:t>
            </a:r>
            <a:r>
              <a:rPr lang="ru-RU" sz="1200" b="1" dirty="0" smtClean="0">
                <a:solidFill>
                  <a:srgbClr val="000000"/>
                </a:solidFill>
              </a:rPr>
              <a:t>бал – 1.8</a:t>
            </a: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256996" y="70816"/>
            <a:ext cx="6817285" cy="83099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Анкетирование №1 </a:t>
            </a:r>
            <a:r>
              <a:rPr lang="ru-RU" dirty="0" smtClean="0"/>
              <a:t>по процессу «</a:t>
            </a:r>
            <a:r>
              <a:rPr lang="ru-RU" sz="1600" dirty="0">
                <a:solidFill>
                  <a:srgbClr val="002960"/>
                </a:solidFill>
              </a:rPr>
              <a:t>Совершенствование процесса учета спец изделий путем использования возможностей системы Электронного паспорта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29601" y="4910171"/>
            <a:ext cx="504056" cy="1283033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20" tIns="45711" rIns="91420" bIns="45711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32725" y="4910170"/>
            <a:ext cx="3600823" cy="753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2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200" kern="0" dirty="0">
                <a:solidFill>
                  <a:srgbClr val="000000"/>
                </a:solidFill>
              </a:rPr>
              <a:t/>
            </a:r>
            <a:br>
              <a:rPr lang="en-US" sz="1200" kern="0" dirty="0">
                <a:solidFill>
                  <a:srgbClr val="000000"/>
                </a:solidFill>
              </a:rPr>
            </a:br>
            <a:r>
              <a:rPr lang="ru-RU" sz="1200" kern="0" dirty="0">
                <a:solidFill>
                  <a:srgbClr val="000000"/>
                </a:solidFill>
              </a:rPr>
              <a:t>"Скорее нет" – прокомментируйте</a:t>
            </a:r>
          </a:p>
          <a:p>
            <a:pPr marL="199204" lvl="2" indent="0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ru-RU" sz="1200" kern="0" dirty="0">
                <a:solidFill>
                  <a:srgbClr val="000000"/>
                </a:solidFill>
              </a:rPr>
              <a:t>Есть ли у Вас предложения по совершенствованию процесса?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96" name="Oval 30"/>
          <p:cNvSpPr>
            <a:spLocks noChangeArrowheads="1"/>
          </p:cNvSpPr>
          <p:nvPr/>
        </p:nvSpPr>
        <p:spPr bwMode="auto">
          <a:xfrm>
            <a:off x="737924" y="4910171"/>
            <a:ext cx="285300" cy="27938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91420" tIns="45711" rIns="91420" bIns="45711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6</a:t>
            </a:r>
            <a:endParaRPr lang="ru-RU" sz="1200" b="1" dirty="0">
              <a:solidFill>
                <a:srgbClr val="FFFFFF"/>
              </a:solidFill>
            </a:endParaRP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32725" y="1304702"/>
            <a:ext cx="3600823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32725" y="1097375"/>
            <a:ext cx="3600823" cy="20732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7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  <a:stCxn id="129" idx="4"/>
            <a:endCxn id="129" idx="6"/>
          </p:cNvCxnSpPr>
          <p:nvPr/>
        </p:nvCxnSpPr>
        <p:spPr bwMode="auto">
          <a:xfrm>
            <a:off x="4724270" y="1304702"/>
            <a:ext cx="9613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4724270" y="1097375"/>
            <a:ext cx="961370" cy="20732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7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Нет</a:t>
            </a:r>
          </a:p>
        </p:txBody>
      </p:sp>
      <p:cxnSp>
        <p:nvCxnSpPr>
          <p:cNvPr id="131" name="AutoShape 249"/>
          <p:cNvCxnSpPr>
            <a:cxnSpLocks noChangeShapeType="1"/>
            <a:stCxn id="132" idx="4"/>
            <a:endCxn id="132" idx="6"/>
          </p:cNvCxnSpPr>
          <p:nvPr/>
        </p:nvCxnSpPr>
        <p:spPr bwMode="auto">
          <a:xfrm>
            <a:off x="5837641" y="1304702"/>
            <a:ext cx="9613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837641" y="1097375"/>
            <a:ext cx="961370" cy="20732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7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  <a:stCxn id="135" idx="4"/>
            <a:endCxn id="135" idx="6"/>
          </p:cNvCxnSpPr>
          <p:nvPr/>
        </p:nvCxnSpPr>
        <p:spPr bwMode="auto">
          <a:xfrm>
            <a:off x="6951011" y="1304702"/>
            <a:ext cx="9613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951011" y="1097375"/>
            <a:ext cx="961370" cy="20732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7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  <a:stCxn id="138" idx="4"/>
            <a:endCxn id="138" idx="6"/>
          </p:cNvCxnSpPr>
          <p:nvPr/>
        </p:nvCxnSpPr>
        <p:spPr bwMode="auto">
          <a:xfrm>
            <a:off x="8064381" y="1304702"/>
            <a:ext cx="9613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8064381" y="1097375"/>
            <a:ext cx="961370" cy="20732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7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>
                <a:solidFill>
                  <a:srgbClr val="000000"/>
                </a:solidFill>
              </a:rPr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510330" y="4171337"/>
            <a:ext cx="0" cy="474662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32727" y="2113252"/>
            <a:ext cx="809302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932727" y="2716675"/>
            <a:ext cx="809302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9601" y="3320098"/>
            <a:ext cx="889615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32727" y="4111937"/>
            <a:ext cx="809302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4724272" y="2289551"/>
            <a:ext cx="4301481" cy="250825"/>
            <a:chOff x="4771892" y="1999887"/>
            <a:chExt cx="3987528" cy="245832"/>
          </a:xfrm>
        </p:grpSpPr>
        <p:sp>
          <p:nvSpPr>
            <p:cNvPr id="164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914206"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6991658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914206" eaLnBrk="0" hangingPunct="0">
                <a:lnSpc>
                  <a:spcPct val="90000"/>
                </a:lnSpc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28131" y="2892973"/>
            <a:ext cx="4301481" cy="250825"/>
            <a:chOff x="4771892" y="2595067"/>
            <a:chExt cx="3987528" cy="245832"/>
          </a:xfrm>
        </p:grpSpPr>
        <p:sp>
          <p:nvSpPr>
            <p:cNvPr id="167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914206"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Oval 72"/>
            <p:cNvSpPr>
              <a:spLocks noChangeArrowheads="1"/>
            </p:cNvSpPr>
            <p:nvPr/>
          </p:nvSpPr>
          <p:spPr bwMode="auto">
            <a:xfrm>
              <a:off x="4949427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914206" eaLnBrk="0" hangingPunct="0">
                <a:lnSpc>
                  <a:spcPct val="90000"/>
                </a:lnSpc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1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724272" y="3598040"/>
            <a:ext cx="4301481" cy="250825"/>
            <a:chOff x="4771892" y="3226875"/>
            <a:chExt cx="3987528" cy="245832"/>
          </a:xfrm>
        </p:grpSpPr>
        <p:sp>
          <p:nvSpPr>
            <p:cNvPr id="170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914206"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Oval 89"/>
            <p:cNvSpPr>
              <a:spLocks noChangeArrowheads="1"/>
            </p:cNvSpPr>
            <p:nvPr/>
          </p:nvSpPr>
          <p:spPr bwMode="auto">
            <a:xfrm>
              <a:off x="4979695" y="3226875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914206" eaLnBrk="0" hangingPunct="0">
                <a:lnSpc>
                  <a:spcPct val="90000"/>
                </a:lnSpc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1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4724272" y="4328992"/>
            <a:ext cx="4301481" cy="250825"/>
            <a:chOff x="4771892" y="3961800"/>
            <a:chExt cx="3987528" cy="245832"/>
          </a:xfrm>
        </p:grpSpPr>
        <p:sp>
          <p:nvSpPr>
            <p:cNvPr id="173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914206">
                <a:defRPr/>
              </a:pPr>
              <a:endParaRPr lang="ru-RU" sz="12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Oval 106"/>
            <p:cNvSpPr>
              <a:spLocks noChangeArrowheads="1"/>
            </p:cNvSpPr>
            <p:nvPr/>
          </p:nvSpPr>
          <p:spPr bwMode="auto">
            <a:xfrm>
              <a:off x="5981348" y="3961800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914206" eaLnBrk="0" hangingPunct="0">
                <a:lnSpc>
                  <a:spcPct val="90000"/>
                </a:lnSpc>
                <a:defRPr/>
              </a:pPr>
              <a:r>
                <a:rPr lang="ru-RU" sz="12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</a:t>
              </a:r>
              <a:endParaRPr lang="ru-RU" sz="12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5090499" y="1409676"/>
            <a:ext cx="86691" cy="16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eaLnBrk="0" hangingPunct="0">
              <a:lnSpc>
                <a:spcPct val="90000"/>
              </a:lnSpc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9601" y="3422311"/>
            <a:ext cx="504056" cy="1272349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20" tIns="45711" rIns="91420" bIns="45711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</a:rPr>
              <a:t>Поддержка пользователей</a:t>
            </a: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227573" y="1409676"/>
            <a:ext cx="86691" cy="16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eaLnBrk="0" hangingPunct="0">
              <a:lnSpc>
                <a:spcPct val="90000"/>
              </a:lnSpc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364647" y="1409676"/>
            <a:ext cx="86691" cy="16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eaLnBrk="0" hangingPunct="0">
              <a:lnSpc>
                <a:spcPct val="90000"/>
              </a:lnSpc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501722" y="1409676"/>
            <a:ext cx="86691" cy="169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eaLnBrk="0" hangingPunct="0">
              <a:lnSpc>
                <a:spcPct val="90000"/>
              </a:lnSpc>
              <a:defRPr/>
            </a:pPr>
            <a:r>
              <a:rPr lang="ru-RU" sz="12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sp>
        <p:nvSpPr>
          <p:cNvPr id="181" name="Rectangle 37"/>
          <p:cNvSpPr>
            <a:spLocks noChangeArrowheads="1"/>
          </p:cNvSpPr>
          <p:nvPr/>
        </p:nvSpPr>
        <p:spPr bwMode="auto">
          <a:xfrm>
            <a:off x="4724272" y="1721850"/>
            <a:ext cx="4301481" cy="179387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/>
          <a:extLst/>
        </p:spPr>
        <p:txBody>
          <a:bodyPr wrap="none" lIns="0" tIns="0" rIns="0" bIns="0" anchor="ctr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83" name="Group 182"/>
          <p:cNvGrpSpPr/>
          <p:nvPr/>
        </p:nvGrpSpPr>
        <p:grpSpPr>
          <a:xfrm>
            <a:off x="737924" y="2226547"/>
            <a:ext cx="3795624" cy="376834"/>
            <a:chOff x="723191" y="2019823"/>
            <a:chExt cx="3719844" cy="36933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3" y="2019823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1200" kern="0" dirty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37924" y="1623124"/>
            <a:ext cx="3795624" cy="1583679"/>
            <a:chOff x="723191" y="1527014"/>
            <a:chExt cx="3719844" cy="1552152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3" y="1527014"/>
              <a:ext cx="3528932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ru-RU" sz="12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200" kern="0" dirty="0">
                  <a:solidFill>
                    <a:srgbClr val="000000"/>
                  </a:solidFill>
                </a:rPr>
                <a:t>?</a:t>
              </a:r>
              <a:endParaRPr lang="en-US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709834"/>
              <a:ext cx="3719844" cy="369332"/>
              <a:chOff x="723191" y="2615039"/>
              <a:chExt cx="3719844" cy="369332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615039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200" kern="0" dirty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615039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200" b="1" dirty="0">
                    <a:solidFill>
                      <a:srgbClr val="FFFFFF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37924" y="3433392"/>
            <a:ext cx="3795624" cy="1168673"/>
            <a:chOff x="723191" y="3301244"/>
            <a:chExt cx="3719844" cy="1145408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301244"/>
              <a:ext cx="3719844" cy="553998"/>
              <a:chOff x="723191" y="3305200"/>
              <a:chExt cx="3719844" cy="553998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305200"/>
                <a:ext cx="3528932" cy="5539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 (инструкции, стандарты, регламенты и т.д.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305200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200" b="1" dirty="0">
                    <a:solidFill>
                      <a:srgbClr val="FFFFFF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4077320"/>
              <a:ext cx="3719844" cy="369332"/>
              <a:chOff x="723191" y="4047412"/>
              <a:chExt cx="3719844" cy="369332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4047412"/>
                <a:ext cx="3528932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2960"/>
                  </a:buClr>
                </a:pPr>
                <a:r>
                  <a:rPr lang="ru-RU" sz="12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200" kern="0" dirty="0">
                    <a:solidFill>
                      <a:srgbClr val="000000"/>
                    </a:solidFill>
                  </a:rPr>
                  <a:t/>
                </a:r>
                <a:br>
                  <a:rPr lang="en-US" sz="1200" kern="0" dirty="0">
                    <a:solidFill>
                      <a:srgbClr val="000000"/>
                    </a:solidFill>
                  </a:rPr>
                </a:br>
                <a:r>
                  <a:rPr lang="ru-RU" sz="1200" kern="0" dirty="0">
                    <a:solidFill>
                      <a:srgbClr val="000000"/>
                    </a:solidFill>
                  </a:rPr>
                  <a:t>поддержки и сервиса (консультациями)?</a:t>
                </a: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4047412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200" b="1" dirty="0">
                    <a:solidFill>
                      <a:srgbClr val="FFFFFF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9601" y="4796873"/>
            <a:ext cx="889615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914206">
              <a:defRPr/>
            </a:pPr>
            <a:endParaRPr lang="ru-RU" sz="12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9601" y="1494562"/>
            <a:ext cx="504056" cy="172417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91420" tIns="45711" rIns="91420" bIns="45711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000000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37924" y="1623126"/>
            <a:ext cx="285300" cy="279389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91420" tIns="45711" rIns="91420" bIns="4571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FFFFFF"/>
                </a:solidFill>
              </a:rPr>
              <a:t>1</a:t>
            </a:r>
            <a:endParaRPr lang="ru-RU" sz="1200" b="1" dirty="0">
              <a:solidFill>
                <a:srgbClr val="FFFFFF"/>
              </a:solidFill>
            </a:endParaRPr>
          </a:p>
        </p:txBody>
      </p:sp>
      <p:sp>
        <p:nvSpPr>
          <p:cNvPr id="98" name="Rectangle 52"/>
          <p:cNvSpPr txBox="1">
            <a:spLocks/>
          </p:cNvSpPr>
          <p:nvPr/>
        </p:nvSpPr>
        <p:spPr>
          <a:xfrm>
            <a:off x="737924" y="5908830"/>
            <a:ext cx="5023716" cy="448834"/>
          </a:xfrm>
          <a:prstGeom prst="rect">
            <a:avLst/>
          </a:prstGeom>
          <a:noFill/>
          <a:ln w="9525">
            <a:gradFill flip="none" rotWithShape="1">
              <a:gsLst>
                <a:gs pos="0">
                  <a:schemeClr val="accent2"/>
                </a:gs>
                <a:gs pos="50000">
                  <a:srgbClr val="DFEDFD"/>
                </a:gs>
                <a:gs pos="100000">
                  <a:schemeClr val="bg1"/>
                </a:gs>
              </a:gsLst>
              <a:lin ang="0" scaled="1"/>
              <a:tileRect/>
            </a:gradFill>
            <a:headEnd/>
            <a:tailEnd/>
          </a:ln>
          <a:extLst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624358" tIns="73464" rIns="73464" bIns="73464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>
                <a:solidFill>
                  <a:srgbClr val="000000"/>
                </a:solidFill>
              </a:rPr>
              <a:t>Начальник </a:t>
            </a:r>
            <a:r>
              <a:rPr lang="ru-RU" sz="1100" dirty="0" smtClean="0">
                <a:solidFill>
                  <a:srgbClr val="000000"/>
                </a:solidFill>
              </a:rPr>
              <a:t>участка 10108-01 Крюков Д.В..__________13.02.2018</a:t>
            </a:r>
            <a:endParaRPr lang="ru-RU" sz="1100" dirty="0">
              <a:solidFill>
                <a:srgbClr val="000000"/>
              </a:solidFill>
            </a:endParaRPr>
          </a:p>
        </p:txBody>
      </p:sp>
      <p:cxnSp>
        <p:nvCxnSpPr>
          <p:cNvPr id="99" name="Straight Connector 36"/>
          <p:cNvCxnSpPr/>
          <p:nvPr/>
        </p:nvCxnSpPr>
        <p:spPr bwMode="gray">
          <a:xfrm>
            <a:off x="11860489" y="8545603"/>
            <a:ext cx="77752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36"/>
          <p:cNvCxnSpPr/>
          <p:nvPr/>
        </p:nvCxnSpPr>
        <p:spPr bwMode="gray">
          <a:xfrm>
            <a:off x="12015994" y="8701098"/>
            <a:ext cx="77752" cy="0"/>
          </a:xfrm>
          <a:prstGeom prst="line">
            <a:avLst/>
          </a:prstGeom>
          <a:ln w="38100">
            <a:solidFill>
              <a:schemeClr val="accent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Oval 38"/>
          <p:cNvSpPr>
            <a:spLocks noChangeArrowheads="1"/>
          </p:cNvSpPr>
          <p:nvPr/>
        </p:nvSpPr>
        <p:spPr bwMode="auto">
          <a:xfrm>
            <a:off x="6028953" y="1686130"/>
            <a:ext cx="570622" cy="250825"/>
          </a:xfrm>
          <a:prstGeom prst="ellipse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/>
          <a:extLst/>
        </p:spPr>
        <p:txBody>
          <a:bodyPr wrap="none" lIns="0" tIns="0" rIns="0" bIns="0" anchor="ctr"/>
          <a:lstStyle/>
          <a:p>
            <a:pPr algn="ctr" defTabSz="914206" eaLnBrk="0" hangingPunct="0">
              <a:lnSpc>
                <a:spcPct val="90000"/>
              </a:lnSpc>
              <a:defRPr/>
            </a:pPr>
            <a:r>
              <a:rPr lang="ru-RU" sz="1200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200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081957" y="5076723"/>
            <a:ext cx="422548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При наличии на предприятии информационной системы, обеспечивающей автоматизацию создания электронного паспорта  спец изделия, учет ведется вручную в журналах, информация заполняется от руки, что увеличивает ВПП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371888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207</Words>
  <Application>Microsoft Office PowerPoint</Application>
  <PresentationFormat>Экран (4:3)</PresentationFormat>
  <Paragraphs>41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RDM027</vt:lpstr>
      <vt:lpstr>think-cell Slide</vt:lpstr>
      <vt:lpstr>Анкетирование №1 по процессу «Совершенствование процесса учета спец изделий путем использования возможностей системы Электронного паспорта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кетирование №1 заказчиков по процессу «Совершенствование процесса учета спец изделий путем использования возможностей системы Электронного паспорта»</dc:title>
  <dc:creator>Савин Андрей Сергеевич</dc:creator>
  <cp:lastModifiedBy>Крюков Дмитрий Валентинович</cp:lastModifiedBy>
  <cp:revision>5</cp:revision>
  <cp:lastPrinted>2018-02-09T06:10:37Z</cp:lastPrinted>
  <dcterms:created xsi:type="dcterms:W3CDTF">2018-02-09T05:32:55Z</dcterms:created>
  <dcterms:modified xsi:type="dcterms:W3CDTF">2018-02-13T06:42:26Z</dcterms:modified>
</cp:coreProperties>
</file>